
<file path=[Content_Types].xml><?xml version="1.0" encoding="utf-8"?>
<Types xmlns="http://schemas.openxmlformats.org/package/2006/content-types"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bookmarkIdSeed="2">
  <p:sldMasterIdLst>
    <p:sldMasterId id="2147483737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8" r:id="rId3"/>
    <p:sldId id="259" r:id="rId4"/>
    <p:sldId id="263" r:id="rId5"/>
    <p:sldId id="265" r:id="rId6"/>
    <p:sldId id="266" r:id="rId7"/>
    <p:sldId id="267" r:id="rId8"/>
    <p:sldId id="268" r:id="rId9"/>
    <p:sldId id="269" r:id="rId10"/>
    <p:sldId id="270" r:id="rId11"/>
    <p:sldId id="271" r:id="rId12"/>
    <p:sldId id="272" r:id="rId13"/>
  </p:sldIdLst>
  <p:sldSz cx="9144000" cy="6858000" type="screen4x3"/>
  <p:notesSz cx="6950075" cy="9236075"/>
  <p:custShowLst>
    <p:custShow name="Custom Show 1" id="0">
      <p:sldLst>
        <p:sld r:id="rId6"/>
      </p:sldLst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hor" initials="A" lastIdx="49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7D5C"/>
    <a:srgbClr val="A24130"/>
    <a:srgbClr val="D17D08"/>
    <a:srgbClr val="647455"/>
    <a:srgbClr val="D9A210"/>
    <a:srgbClr val="B2B2B2"/>
    <a:srgbClr val="DDDDDD"/>
    <a:srgbClr val="243F54"/>
    <a:srgbClr val="007698"/>
    <a:srgbClr val="2B9E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87" autoAdjust="0"/>
    <p:restoredTop sz="96433" autoAdjust="0"/>
  </p:normalViewPr>
  <p:slideViewPr>
    <p:cSldViewPr snapToGrid="0">
      <p:cViewPr varScale="1">
        <p:scale>
          <a:sx n="116" d="100"/>
          <a:sy n="116" d="100"/>
        </p:scale>
        <p:origin x="2244" y="108"/>
      </p:cViewPr>
      <p:guideLst/>
    </p:cSldViewPr>
  </p:slideViewPr>
  <p:outlineViewPr>
    <p:cViewPr>
      <p:scale>
        <a:sx n="33" d="100"/>
        <a:sy n="33" d="100"/>
      </p:scale>
      <p:origin x="0" y="-1284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53712"/>
    </p:cViewPr>
  </p:sorterViewPr>
  <p:notesViewPr>
    <p:cSldViewPr snapToGrid="0">
      <p:cViewPr varScale="1">
        <p:scale>
          <a:sx n="90" d="100"/>
          <a:sy n="90" d="100"/>
        </p:scale>
        <p:origin x="369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ED006EA4-D462-4253-8FC7-D35175043F19}" type="datetimeFigureOut">
              <a:rPr lang="en-US" smtClean="0"/>
              <a:t>11/20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02DA24A-F480-4AA7-ACF1-F7D1E577F3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09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34E1B6C9-DAE3-4E7B-AB3C-9473EC02D78D}" type="datetimeFigureOut">
              <a:rPr lang="en-US" smtClean="0"/>
              <a:t>11/20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0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65F1ACBD-245E-4A24-AC78-063168A886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599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962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694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224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047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922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1574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0" y="1154113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0628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428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2442512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719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90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7" name="Rounded Rectangular Callout 6"/>
          <p:cNvSpPr/>
          <p:nvPr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259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384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2594118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328213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105136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897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81558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1400" b="1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/>
              <a:r>
                <a:rPr lang="en-US" dirty="0" smtClean="0">
                  <a:sym typeface="Wingdings" panose="05000000000000000000" pitchFamily="2" charset="2"/>
                </a:rPr>
                <a:t></a:t>
              </a:r>
              <a:endParaRPr lang="en-US" dirty="0"/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A24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924E6B"/>
                  </a:solidFill>
                </a:rPr>
                <a:t>!</a:t>
              </a:r>
              <a:endParaRPr lang="en-US" sz="1200" dirty="0">
                <a:solidFill>
                  <a:srgbClr val="924E6B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58539"/>
            <a:ext cx="8623607" cy="176255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647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  <p:extLst>
      <p:ext uri="{BB962C8B-B14F-4D97-AF65-F5344CB8AC3E}">
        <p14:creationId xmlns:p14="http://schemas.microsoft.com/office/powerpoint/2010/main" val="206351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5882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8122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52663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34836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9105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ssist: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lso Assist:</a:t>
            </a:r>
            <a:endParaRPr lang="en-US" sz="1400" b="1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b="1" dirty="0"/>
              <a:t>This Research Will Help </a:t>
            </a:r>
            <a:r>
              <a:rPr lang="en-US" sz="1400" b="1" dirty="0" smtClean="0"/>
              <a:t>Them:</a:t>
            </a:r>
            <a:endParaRPr lang="en-US" sz="1400" b="1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44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11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291389" y="1204535"/>
            <a:ext cx="7575900" cy="804672"/>
            <a:chOff x="962527" y="1204535"/>
            <a:chExt cx="7904762" cy="804672"/>
          </a:xfrm>
        </p:grpSpPr>
        <p:sp>
          <p:nvSpPr>
            <p:cNvPr id="5" name="Rectangle 4"/>
            <p:cNvSpPr/>
            <p:nvPr/>
          </p:nvSpPr>
          <p:spPr>
            <a:xfrm>
              <a:off x="962527" y="1204535"/>
              <a:ext cx="2606172" cy="804672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Prior to the Guided Implementatio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605417" y="1204535"/>
              <a:ext cx="2606172" cy="804672"/>
            </a:xfrm>
            <a:prstGeom prst="rect">
              <a:avLst/>
            </a:prstGeom>
            <a:solidFill>
              <a:srgbClr val="36A1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During the Guided Implementation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261117" y="1204535"/>
              <a:ext cx="2606172" cy="804672"/>
            </a:xfrm>
            <a:prstGeom prst="rect">
              <a:avLst/>
            </a:prstGeom>
            <a:solidFill>
              <a:srgbClr val="D9A2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Value &amp; Outcome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836603" y="2002369"/>
            <a:ext cx="23749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will discuss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with you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394232" y="2002369"/>
            <a:ext cx="26061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call,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you will have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Arrange a call now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sp>
        <p:nvSpPr>
          <p:cNvPr id="48" name="Freeform 47"/>
          <p:cNvSpPr/>
          <p:nvPr/>
        </p:nvSpPr>
        <p:spPr>
          <a:xfrm>
            <a:off x="4023271" y="1321402"/>
            <a:ext cx="512896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6600937" y="1390418"/>
            <a:ext cx="504812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1147533" y="1211197"/>
            <a:ext cx="953015" cy="843383"/>
          </a:xfrm>
          <a:prstGeom prst="rect">
            <a:avLst/>
          </a:prstGeom>
        </p:spPr>
      </p:pic>
      <p:sp>
        <p:nvSpPr>
          <p:cNvPr id="34" name="Rectangle 33"/>
          <p:cNvSpPr/>
          <p:nvPr userDrawn="1"/>
        </p:nvSpPr>
        <p:spPr>
          <a:xfrm>
            <a:off x="1309048" y="1987116"/>
            <a:ext cx="24678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Before the call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985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D9A210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765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5A7D5C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7341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65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5" r:id="rId17"/>
    <p:sldLayoutId id="2147483756" r:id="rId18"/>
    <p:sldLayoutId id="2147483757" r:id="rId19"/>
    <p:sldLayoutId id="2147483758" r:id="rId20"/>
    <p:sldLayoutId id="2147483759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://www.infotech.com/research/storyboard-align-it-with-the-real-end-customer?utm_source=SS_Sample&amp;utm_medium=Collateral&amp;utm_campaign=Collateral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7" Type="http://schemas.openxmlformats.org/officeDocument/2006/relationships/image" Target="../media/image12.png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11" Type="http://schemas.openxmlformats.org/officeDocument/2006/relationships/image" Target="../media/image12.png"/><Relationship Id="rId5" Type="http://schemas.openxmlformats.org/officeDocument/2006/relationships/image" Target="../media/image2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hyperlink" Target="http://www.infotech.com/research/storyboard-align-it-with-the-real-end-customer?utm_source=SS_Sample&amp;utm_medium=Collateral&amp;utm_campaign=Collatera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align-it-with-the-real-end-customer?utm_source=SS_Sample&amp;utm_medium=Collateral&amp;utm_campaign=Collatera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ueprint Title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Align IT with the Real End Customer</a:t>
            </a:r>
            <a:endParaRPr lang="en-US" dirty="0"/>
          </a:p>
        </p:txBody>
      </p:sp>
      <p:sp>
        <p:nvSpPr>
          <p:cNvPr id="5" name="Tagline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Ensure IT and the business are working towards the same goal: improving customer experience.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7" name="Picture 6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0" y="6266557"/>
              <a:ext cx="9144000" cy="591443"/>
              <a:chOff x="0" y="6266557"/>
              <a:chExt cx="9144000" cy="5914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6266557"/>
                <a:ext cx="7308304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 algn="r"/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Info-Tech's products and services combine actionable insight and relevant advice with ready-to-use tools</a:t>
                </a:r>
                <a:b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</a:br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and templates that cover the full spectrum of IT concerns.© 1997 - 2014 Info-Tech Research Group</a:t>
                </a:r>
                <a:endParaRPr lang="en-CA" sz="8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308304" y="6266557"/>
                <a:ext cx="1835696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11" name="Picture 10" descr="itrg-logo-blue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529512" y="6360368"/>
                <a:ext cx="1400175" cy="381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786024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687148" y="3060699"/>
            <a:ext cx="7454900" cy="810909"/>
          </a:xfrm>
        </p:spPr>
        <p:txBody>
          <a:bodyPr/>
          <a:lstStyle/>
          <a:p>
            <a:r>
              <a:rPr lang="en-CA" b="1" dirty="0" smtClean="0"/>
              <a:t>Phase 1:</a:t>
            </a:r>
            <a:r>
              <a:rPr lang="en-CA" dirty="0" smtClean="0"/>
              <a:t> Launch the Project</a:t>
            </a:r>
            <a:endParaRPr lang="en-US" dirty="0"/>
          </a:p>
        </p:txBody>
      </p:sp>
      <p:sp>
        <p:nvSpPr>
          <p:cNvPr id="9" name="Chevron 8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007824"/>
            <a:ext cx="8856475" cy="177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2"/>
          <p:cNvGrpSpPr/>
          <p:nvPr/>
        </p:nvGrpSpPr>
        <p:grpSpPr>
          <a:xfrm>
            <a:off x="1126807" y="4234928"/>
            <a:ext cx="6871503" cy="981643"/>
            <a:chOff x="1126807" y="4234928"/>
            <a:chExt cx="6871503" cy="981643"/>
          </a:xfrm>
        </p:grpSpPr>
        <p:sp>
          <p:nvSpPr>
            <p:cNvPr id="4" name="Freeform 3"/>
            <p:cNvSpPr/>
            <p:nvPr/>
          </p:nvSpPr>
          <p:spPr>
            <a:xfrm>
              <a:off x="1126807" y="4234928"/>
              <a:ext cx="2454108" cy="981643"/>
            </a:xfrm>
            <a:custGeom>
              <a:avLst/>
              <a:gdLst>
                <a:gd name="connsiteX0" fmla="*/ 0 w 2454108"/>
                <a:gd name="connsiteY0" fmla="*/ 0 h 981643"/>
                <a:gd name="connsiteX1" fmla="*/ 1963287 w 2454108"/>
                <a:gd name="connsiteY1" fmla="*/ 0 h 981643"/>
                <a:gd name="connsiteX2" fmla="*/ 2454108 w 2454108"/>
                <a:gd name="connsiteY2" fmla="*/ 490822 h 981643"/>
                <a:gd name="connsiteX3" fmla="*/ 1963287 w 2454108"/>
                <a:gd name="connsiteY3" fmla="*/ 981643 h 981643"/>
                <a:gd name="connsiteX4" fmla="*/ 0 w 2454108"/>
                <a:gd name="connsiteY4" fmla="*/ 981643 h 981643"/>
                <a:gd name="connsiteX5" fmla="*/ 490822 w 2454108"/>
                <a:gd name="connsiteY5" fmla="*/ 490822 h 981643"/>
                <a:gd name="connsiteX6" fmla="*/ 0 w 2454108"/>
                <a:gd name="connsiteY6" fmla="*/ 0 h 98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4108" h="981643">
                  <a:moveTo>
                    <a:pt x="0" y="0"/>
                  </a:moveTo>
                  <a:lnTo>
                    <a:pt x="1963287" y="0"/>
                  </a:lnTo>
                  <a:lnTo>
                    <a:pt x="2454108" y="490822"/>
                  </a:lnTo>
                  <a:lnTo>
                    <a:pt x="1963287" y="981643"/>
                  </a:lnTo>
                  <a:lnTo>
                    <a:pt x="0" y="981643"/>
                  </a:lnTo>
                  <a:lnTo>
                    <a:pt x="490822" y="4908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spcFirstLastPara="0" vert="horz" wrap="square" lIns="554830" tIns="21336" rIns="512157" bIns="21336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/>
                <a:t>Launch the Project</a:t>
              </a:r>
              <a:endParaRPr lang="en-US" sz="1600" b="1" kern="1200" dirty="0"/>
            </a:p>
          </p:txBody>
        </p:sp>
        <p:sp>
          <p:nvSpPr>
            <p:cNvPr id="5" name="Freeform 4"/>
            <p:cNvSpPr/>
            <p:nvPr/>
          </p:nvSpPr>
          <p:spPr>
            <a:xfrm>
              <a:off x="3335505" y="4234928"/>
              <a:ext cx="2454108" cy="981643"/>
            </a:xfrm>
            <a:custGeom>
              <a:avLst/>
              <a:gdLst>
                <a:gd name="connsiteX0" fmla="*/ 0 w 2454108"/>
                <a:gd name="connsiteY0" fmla="*/ 0 h 981643"/>
                <a:gd name="connsiteX1" fmla="*/ 1963287 w 2454108"/>
                <a:gd name="connsiteY1" fmla="*/ 0 h 981643"/>
                <a:gd name="connsiteX2" fmla="*/ 2454108 w 2454108"/>
                <a:gd name="connsiteY2" fmla="*/ 490822 h 981643"/>
                <a:gd name="connsiteX3" fmla="*/ 1963287 w 2454108"/>
                <a:gd name="connsiteY3" fmla="*/ 981643 h 981643"/>
                <a:gd name="connsiteX4" fmla="*/ 0 w 2454108"/>
                <a:gd name="connsiteY4" fmla="*/ 981643 h 981643"/>
                <a:gd name="connsiteX5" fmla="*/ 490822 w 2454108"/>
                <a:gd name="connsiteY5" fmla="*/ 490822 h 981643"/>
                <a:gd name="connsiteX6" fmla="*/ 0 w 2454108"/>
                <a:gd name="connsiteY6" fmla="*/ 0 h 98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4108" h="981643">
                  <a:moveTo>
                    <a:pt x="0" y="0"/>
                  </a:moveTo>
                  <a:lnTo>
                    <a:pt x="1963287" y="0"/>
                  </a:lnTo>
                  <a:lnTo>
                    <a:pt x="2454108" y="490822"/>
                  </a:lnTo>
                  <a:lnTo>
                    <a:pt x="1963287" y="981643"/>
                  </a:lnTo>
                  <a:lnTo>
                    <a:pt x="0" y="981643"/>
                  </a:lnTo>
                  <a:lnTo>
                    <a:pt x="490822" y="4908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4830" tIns="21336" rIns="512157" bIns="21336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Plan the Project</a:t>
              </a:r>
              <a:endParaRPr lang="en-US" sz="1600" kern="1200" dirty="0"/>
            </a:p>
          </p:txBody>
        </p:sp>
        <p:sp>
          <p:nvSpPr>
            <p:cNvPr id="6" name="Freeform 5"/>
            <p:cNvSpPr/>
            <p:nvPr/>
          </p:nvSpPr>
          <p:spPr>
            <a:xfrm>
              <a:off x="5544202" y="4234928"/>
              <a:ext cx="2454108" cy="981643"/>
            </a:xfrm>
            <a:custGeom>
              <a:avLst/>
              <a:gdLst>
                <a:gd name="connsiteX0" fmla="*/ 0 w 2454108"/>
                <a:gd name="connsiteY0" fmla="*/ 0 h 981643"/>
                <a:gd name="connsiteX1" fmla="*/ 1963287 w 2454108"/>
                <a:gd name="connsiteY1" fmla="*/ 0 h 981643"/>
                <a:gd name="connsiteX2" fmla="*/ 2454108 w 2454108"/>
                <a:gd name="connsiteY2" fmla="*/ 490822 h 981643"/>
                <a:gd name="connsiteX3" fmla="*/ 1963287 w 2454108"/>
                <a:gd name="connsiteY3" fmla="*/ 981643 h 981643"/>
                <a:gd name="connsiteX4" fmla="*/ 0 w 2454108"/>
                <a:gd name="connsiteY4" fmla="*/ 981643 h 981643"/>
                <a:gd name="connsiteX5" fmla="*/ 490822 w 2454108"/>
                <a:gd name="connsiteY5" fmla="*/ 490822 h 981643"/>
                <a:gd name="connsiteX6" fmla="*/ 0 w 2454108"/>
                <a:gd name="connsiteY6" fmla="*/ 0 h 98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4108" h="981643">
                  <a:moveTo>
                    <a:pt x="0" y="0"/>
                  </a:moveTo>
                  <a:lnTo>
                    <a:pt x="1963287" y="0"/>
                  </a:lnTo>
                  <a:lnTo>
                    <a:pt x="2454108" y="490822"/>
                  </a:lnTo>
                  <a:lnTo>
                    <a:pt x="1963287" y="981643"/>
                  </a:lnTo>
                  <a:lnTo>
                    <a:pt x="0" y="981643"/>
                  </a:lnTo>
                  <a:lnTo>
                    <a:pt x="490822" y="4908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54830" tIns="21336" rIns="512157" bIns="21336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Implement the Project</a:t>
              </a:r>
              <a:endParaRPr lang="en-US" sz="1600" kern="1200" dirty="0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1100517" y="3875223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/>
              <a:t>Phase 1:</a:t>
            </a:r>
            <a:endParaRPr lang="en-US" b="1" i="1" dirty="0"/>
          </a:p>
        </p:txBody>
      </p:sp>
      <p:sp>
        <p:nvSpPr>
          <p:cNvPr id="14" name="TextBox 13"/>
          <p:cNvSpPr txBox="1"/>
          <p:nvPr/>
        </p:nvSpPr>
        <p:spPr>
          <a:xfrm>
            <a:off x="3311536" y="3875223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/>
              <a:t>Phase 2:</a:t>
            </a:r>
            <a:endParaRPr lang="en-US" b="1" i="1" dirty="0"/>
          </a:p>
        </p:txBody>
      </p:sp>
      <p:sp>
        <p:nvSpPr>
          <p:cNvPr id="16" name="TextBox 15"/>
          <p:cNvSpPr txBox="1"/>
          <p:nvPr/>
        </p:nvSpPr>
        <p:spPr>
          <a:xfrm>
            <a:off x="5522555" y="3875223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/>
              <a:t>Phase 3:</a:t>
            </a:r>
            <a:endParaRPr lang="en-US" b="1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1483442" y="5233336"/>
            <a:ext cx="13558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We Are Here</a:t>
            </a:r>
            <a:endParaRPr lang="en-US" sz="16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5" name="Picture 3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6" descr="itrg-logo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1041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ase 1 includes 2 key steps and 9 value driving activities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2097864" y="1333796"/>
            <a:ext cx="4774892" cy="4844802"/>
            <a:chOff x="2275889" y="1277153"/>
            <a:chExt cx="4774892" cy="4844802"/>
          </a:xfrm>
        </p:grpSpPr>
        <p:sp>
          <p:nvSpPr>
            <p:cNvPr id="5" name="TextBox 4"/>
            <p:cNvSpPr txBox="1"/>
            <p:nvPr/>
          </p:nvSpPr>
          <p:spPr>
            <a:xfrm>
              <a:off x="2569261" y="2103822"/>
              <a:ext cx="7745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i="1" dirty="0" smtClean="0"/>
                <a:t>Steps</a:t>
              </a:r>
              <a:endParaRPr lang="en-US" i="1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275889" y="3026314"/>
              <a:ext cx="10951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i="1" dirty="0" smtClean="0"/>
                <a:t>Activities</a:t>
              </a:r>
              <a:endParaRPr lang="en-US" i="1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559782" y="2801636"/>
              <a:ext cx="1097280" cy="76809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dirty="0">
                  <a:solidFill>
                    <a:sysClr val="windowText" lastClr="000000"/>
                  </a:solidFill>
                </a:rPr>
                <a:t>1.1.1 </a:t>
              </a:r>
            </a:p>
            <a:p>
              <a:pPr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dirty="0" smtClean="0">
                  <a:solidFill>
                    <a:sysClr val="windowText" lastClr="000000"/>
                  </a:solidFill>
                </a:rPr>
                <a:t>Understand </a:t>
              </a:r>
              <a:r>
                <a:rPr lang="en-US" sz="1050" dirty="0">
                  <a:solidFill>
                    <a:sysClr val="windowText" lastClr="000000"/>
                  </a:solidFill>
                </a:rPr>
                <a:t>Risks of Absent </a:t>
              </a:r>
              <a:r>
                <a:rPr lang="en-US" sz="1050" dirty="0" smtClean="0">
                  <a:solidFill>
                    <a:sysClr val="windowText" lastClr="000000"/>
                  </a:solidFill>
                </a:rPr>
                <a:t>Customer Alignment</a:t>
              </a:r>
              <a:endParaRPr lang="en-US" sz="105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550286" y="3646171"/>
              <a:ext cx="1097280" cy="76809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1.2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Review the Benefits of Customer Alignment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552804" y="4505385"/>
              <a:ext cx="1097280" cy="76809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1.3</a:t>
              </a: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Assess Stage Gate to Proceed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756642" y="2786958"/>
              <a:ext cx="1097280" cy="768096"/>
              <a:chOff x="4474472" y="1246381"/>
              <a:chExt cx="876283" cy="438141"/>
            </a:xfrm>
            <a:solidFill>
              <a:schemeClr val="accent2">
                <a:lumMod val="20000"/>
                <a:lumOff val="80000"/>
              </a:schemeClr>
            </a:solidFill>
          </p:grpSpPr>
          <p:sp>
            <p:nvSpPr>
              <p:cNvPr id="40" name="Rectangle 39"/>
              <p:cNvSpPr/>
              <p:nvPr/>
            </p:nvSpPr>
            <p:spPr>
              <a:xfrm>
                <a:off x="4474472" y="1246381"/>
                <a:ext cx="876283" cy="438141"/>
              </a:xfrm>
              <a:prstGeom prst="rect">
                <a:avLst/>
              </a:prstGeom>
              <a:grpFill/>
              <a:ln w="19050">
                <a:solidFill>
                  <a:schemeClr val="accent1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1" name="Rectangle 40"/>
              <p:cNvSpPr/>
              <p:nvPr/>
            </p:nvSpPr>
            <p:spPr>
              <a:xfrm>
                <a:off x="4474472" y="1246381"/>
                <a:ext cx="876283" cy="438141"/>
              </a:xfrm>
              <a:prstGeom prst="rect">
                <a:avLst/>
              </a:prstGeom>
              <a:grpFill/>
              <a:ln w="19050">
                <a:solidFill>
                  <a:schemeClr val="accent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080" tIns="5080" rIns="5080" bIns="5080" numCol="1" spcCol="1270" anchor="t" anchorCtr="0">
                <a:noAutofit/>
              </a:bodyPr>
              <a:lstStyle/>
              <a:p>
                <a:pPr lvl="0" algn="ctr" defTabSz="355600"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sz="1050" b="1" kern="1200" dirty="0" smtClean="0">
                    <a:solidFill>
                      <a:sysClr val="windowText" lastClr="000000"/>
                    </a:solidFill>
                  </a:rPr>
                  <a:t>1.2.1 </a:t>
                </a:r>
              </a:p>
              <a:p>
                <a:pPr lvl="0" algn="ctr" defTabSz="355600">
                  <a:lnSpc>
                    <a:spcPct val="90000"/>
                  </a:lnSpc>
                  <a:spcBef>
                    <a:spcPct val="0"/>
                  </a:spcBef>
                </a:pPr>
                <a:r>
                  <a:rPr lang="en-US" sz="1050" kern="1200" dirty="0" smtClean="0">
                    <a:solidFill>
                      <a:sysClr val="windowText" lastClr="000000"/>
                    </a:solidFill>
                  </a:rPr>
                  <a:t>Identify &amp; Interview Key Stakeholders</a:t>
                </a:r>
                <a:endParaRPr lang="en-US" sz="1050" kern="1200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39" name="Rectangle 38"/>
            <p:cNvSpPr/>
            <p:nvPr/>
          </p:nvSpPr>
          <p:spPr>
            <a:xfrm>
              <a:off x="4751894" y="3656910"/>
              <a:ext cx="1097280" cy="768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2.2</a:t>
              </a: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Consolidate and Document Business Drivers &amp; Initiatives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751894" y="5353859"/>
              <a:ext cx="1097280" cy="768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2.4</a:t>
              </a: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Outline Key Project Benefits in Terms of Business Drivers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751894" y="4505385"/>
              <a:ext cx="1097280" cy="768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2.3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dirty="0">
                  <a:solidFill>
                    <a:sysClr val="windowText" lastClr="000000"/>
                  </a:solidFill>
                </a:rPr>
                <a:t>Ensure Alignment with Business </a:t>
              </a:r>
              <a:r>
                <a:rPr lang="en-US" sz="1050" dirty="0" smtClean="0">
                  <a:solidFill>
                    <a:sysClr val="windowText" lastClr="000000"/>
                  </a:solidFill>
                </a:rPr>
                <a:t>Drivers </a:t>
              </a:r>
              <a:r>
                <a:rPr lang="en-US" sz="1050" dirty="0">
                  <a:solidFill>
                    <a:sysClr val="windowText" lastClr="000000"/>
                  </a:solidFill>
                </a:rPr>
                <a:t>and Initiatives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953501" y="2786959"/>
              <a:ext cx="1097280" cy="768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2.5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Create Metrics to Measure Project Value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953500" y="3656911"/>
              <a:ext cx="1097280" cy="768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t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b="1" kern="1200" dirty="0" smtClean="0">
                  <a:solidFill>
                    <a:sysClr val="windowText" lastClr="000000"/>
                  </a:solidFill>
                </a:rPr>
                <a:t>1.2.6</a:t>
              </a: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 </a:t>
              </a:r>
            </a:p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</a:pPr>
              <a:r>
                <a:rPr lang="en-US" sz="1050" kern="1200" dirty="0" smtClean="0">
                  <a:solidFill>
                    <a:sysClr val="windowText" lastClr="000000"/>
                  </a:solidFill>
                </a:rPr>
                <a:t>Receive Executive Sign-Off to Proceed</a:t>
              </a:r>
              <a:endParaRPr lang="en-US" sz="1050" kern="120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3565599" y="1277153"/>
              <a:ext cx="2284834" cy="1406702"/>
              <a:chOff x="3451342" y="1505531"/>
              <a:chExt cx="2284834" cy="1406702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3880691" y="1505531"/>
                <a:ext cx="1486675" cy="56767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smtClean="0"/>
                  <a:t>Phase 1: Launch</a:t>
                </a:r>
                <a:endParaRPr lang="en-US" sz="1400" b="1" dirty="0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3451342" y="2148783"/>
                <a:ext cx="1093791" cy="763189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en-US" sz="1050" b="1" dirty="0" smtClean="0"/>
                  <a:t>1.1</a:t>
                </a:r>
                <a:r>
                  <a:rPr lang="en-US" sz="1050" dirty="0" smtClean="0"/>
                  <a:t> </a:t>
                </a:r>
              </a:p>
              <a:p>
                <a:pPr algn="ctr"/>
                <a:r>
                  <a:rPr lang="en-US" sz="1050" dirty="0" smtClean="0"/>
                  <a:t>Investigate Challenges and Benefits</a:t>
                </a:r>
                <a:endParaRPr lang="en-US" sz="1050" dirty="0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4642385" y="2149044"/>
                <a:ext cx="1093791" cy="763189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t"/>
              <a:lstStyle/>
              <a:p>
                <a:pPr algn="ctr"/>
                <a:r>
                  <a:rPr lang="en-US" sz="1050" b="1" dirty="0" smtClean="0"/>
                  <a:t>1.2 </a:t>
                </a:r>
              </a:p>
              <a:p>
                <a:pPr algn="ctr"/>
                <a:r>
                  <a:rPr lang="en-US" sz="1050" dirty="0" smtClean="0"/>
                  <a:t>Build the Project Charter</a:t>
                </a:r>
                <a:endParaRPr lang="en-US" sz="1050" dirty="0"/>
              </a:p>
            </p:txBody>
          </p:sp>
        </p:grpSp>
      </p:grpSp>
      <p:grpSp>
        <p:nvGrpSpPr>
          <p:cNvPr id="22" name="Group 21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5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25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222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27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7775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Understanding of the Problem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US" sz="1200" dirty="0"/>
              <a:t>The </a:t>
            </a:r>
            <a:r>
              <a:rPr lang="en-US" sz="1200" b="1" dirty="0"/>
              <a:t>CIO</a:t>
            </a:r>
            <a:r>
              <a:rPr lang="en-US" sz="1200" dirty="0"/>
              <a:t> who has accountability for ensuring that IT is behaving in a way that is complementary to the needs of the </a:t>
            </a:r>
            <a:r>
              <a:rPr lang="en-US" sz="1200" dirty="0" smtClean="0"/>
              <a:t>customer</a:t>
            </a:r>
            <a:r>
              <a:rPr lang="en-US" sz="1200" dirty="0"/>
              <a:t>. </a:t>
            </a:r>
          </a:p>
          <a:p>
            <a:pPr lvl="0"/>
            <a:r>
              <a:rPr lang="en-US" sz="1200" dirty="0" smtClean="0"/>
              <a:t>The </a:t>
            </a:r>
            <a:r>
              <a:rPr lang="en-US" sz="1200" b="1" dirty="0"/>
              <a:t>business partner/stakeholder</a:t>
            </a:r>
            <a:r>
              <a:rPr lang="en-US" sz="1200" dirty="0"/>
              <a:t> who is interested in ways to work with IT to improve upon existing processes relating to IT and the </a:t>
            </a:r>
            <a:r>
              <a:rPr lang="en-US" sz="1200" dirty="0" smtClean="0"/>
              <a:t>customer</a:t>
            </a:r>
            <a:r>
              <a:rPr lang="en-US" sz="1200" dirty="0"/>
              <a:t>.</a:t>
            </a:r>
          </a:p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lvl="0"/>
            <a:r>
              <a:rPr lang="en-US" sz="1200" dirty="0"/>
              <a:t>Develop an IT department that understands the needs of the organization’s customer. </a:t>
            </a:r>
          </a:p>
          <a:p>
            <a:pPr lvl="0"/>
            <a:r>
              <a:rPr lang="en-US" sz="1200" dirty="0"/>
              <a:t>Assess what </a:t>
            </a:r>
            <a:r>
              <a:rPr lang="en-US" sz="1200" dirty="0" smtClean="0"/>
              <a:t>processes </a:t>
            </a:r>
            <a:r>
              <a:rPr lang="en-US" sz="1200" dirty="0"/>
              <a:t>IT staff are currently </a:t>
            </a:r>
            <a:r>
              <a:rPr lang="en-US" sz="1200" dirty="0" smtClean="0"/>
              <a:t>using </a:t>
            </a:r>
            <a:r>
              <a:rPr lang="en-US" sz="1200" dirty="0"/>
              <a:t>in relation to </a:t>
            </a:r>
            <a:r>
              <a:rPr lang="en-US" sz="1200" dirty="0" smtClean="0"/>
              <a:t>customer-related </a:t>
            </a:r>
            <a:r>
              <a:rPr lang="en-US" sz="1200" dirty="0"/>
              <a:t>tasks. Evaluate process modifications to close </a:t>
            </a:r>
            <a:r>
              <a:rPr lang="en-US" sz="1200" dirty="0" smtClean="0"/>
              <a:t>gaps. </a:t>
            </a:r>
            <a:endParaRPr lang="en-US" sz="1200" dirty="0"/>
          </a:p>
          <a:p>
            <a:pPr lvl="0"/>
            <a:r>
              <a:rPr lang="en-US" sz="1200" dirty="0"/>
              <a:t>Motivate new behaviors in IT staff by developing customer-centric </a:t>
            </a:r>
            <a:r>
              <a:rPr lang="en-US" sz="1200" dirty="0" smtClean="0"/>
              <a:t>metrics to track performance.</a:t>
            </a:r>
          </a:p>
          <a:p>
            <a:pPr lvl="0"/>
            <a:r>
              <a:rPr lang="en-US" sz="1200" dirty="0" smtClean="0"/>
              <a:t>Create a </a:t>
            </a:r>
            <a:r>
              <a:rPr lang="en-US" sz="1200" dirty="0"/>
              <a:t>communication plan </a:t>
            </a:r>
            <a:r>
              <a:rPr lang="en-US" sz="1200" dirty="0" smtClean="0"/>
              <a:t>and conduct experiential </a:t>
            </a:r>
            <a:r>
              <a:rPr lang="en-US" sz="1200" dirty="0"/>
              <a:t>training </a:t>
            </a:r>
            <a:r>
              <a:rPr lang="en-US" sz="1200" dirty="0" smtClean="0"/>
              <a:t>programs. </a:t>
            </a:r>
            <a:endParaRPr lang="en-US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lvl="0"/>
            <a:r>
              <a:rPr lang="en-US" sz="1200" dirty="0"/>
              <a:t>The </a:t>
            </a:r>
            <a:r>
              <a:rPr lang="en-US" sz="1200" b="1" dirty="0"/>
              <a:t>IT analysts and designers</a:t>
            </a:r>
            <a:r>
              <a:rPr lang="en-US" sz="1200" dirty="0"/>
              <a:t> who are responsible for creating customer-facing solutions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sz="1200" dirty="0" smtClean="0"/>
              <a:t>Incorporate customer feedback faster and more accurately into their solutions. </a:t>
            </a:r>
          </a:p>
          <a:p>
            <a:r>
              <a:rPr lang="en-US" sz="1200" dirty="0"/>
              <a:t>Create solutions that provide a more positive customer experience. </a:t>
            </a:r>
          </a:p>
          <a:p>
            <a:endParaRPr lang="en-US" sz="1200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658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6423" y="1535364"/>
            <a:ext cx="5279225" cy="1078992"/>
          </a:xfrm>
        </p:spPr>
        <p:txBody>
          <a:bodyPr/>
          <a:lstStyle/>
          <a:p>
            <a:pPr lvl="0"/>
            <a:r>
              <a:rPr lang="en-US" sz="1100" dirty="0"/>
              <a:t>Organizations are becoming increasingly focused on the customer and much of this focus places technology at the center. However, the </a:t>
            </a:r>
            <a:r>
              <a:rPr lang="en-US" sz="1100" dirty="0" smtClean="0"/>
              <a:t>business units </a:t>
            </a:r>
            <a:r>
              <a:rPr lang="en-US" sz="1100" dirty="0"/>
              <a:t>feel uncomfortable working with IT for customer-related projects because they don’t believe that IT understands the customer. IT struggles to understand what they should be doing </a:t>
            </a:r>
            <a:r>
              <a:rPr lang="en-US" sz="1100" dirty="0" smtClean="0"/>
              <a:t>differently </a:t>
            </a:r>
            <a:r>
              <a:rPr lang="en-US" sz="1100" dirty="0"/>
              <a:t>to support this growing customer-focus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sz="1100" dirty="0"/>
              <a:t>Often by the time feedback from the customer reaches </a:t>
            </a:r>
            <a:r>
              <a:rPr lang="en-US" sz="1100" dirty="0" smtClean="0"/>
              <a:t>IT, it </a:t>
            </a:r>
            <a:r>
              <a:rPr lang="en-US" sz="1100" dirty="0"/>
              <a:t>has been passed through many layers of the organization </a:t>
            </a:r>
            <a:r>
              <a:rPr lang="en-US" sz="1100" dirty="0" smtClean="0"/>
              <a:t>altering the message</a:t>
            </a:r>
            <a:r>
              <a:rPr lang="en-US" sz="1100" dirty="0"/>
              <a:t>. </a:t>
            </a:r>
            <a:r>
              <a:rPr lang="en-US" sz="1100" dirty="0" smtClean="0"/>
              <a:t>This </a:t>
            </a:r>
            <a:r>
              <a:rPr lang="en-US" sz="1100" dirty="0"/>
              <a:t>process of passing on </a:t>
            </a:r>
            <a:r>
              <a:rPr lang="en-US" sz="1100" dirty="0" smtClean="0"/>
              <a:t>feedback is typically slow, delaying changes </a:t>
            </a:r>
            <a:r>
              <a:rPr lang="en-US" sz="1100" dirty="0"/>
              <a:t>to customer </a:t>
            </a:r>
            <a:r>
              <a:rPr lang="en-US" sz="1100" dirty="0" smtClean="0"/>
              <a:t>solutions.</a:t>
            </a:r>
            <a:endParaRPr lang="en-US" sz="1100" dirty="0"/>
          </a:p>
          <a:p>
            <a:pPr lvl="0"/>
            <a:r>
              <a:rPr lang="en-US" sz="1100" dirty="0"/>
              <a:t>Despite being uniquely positioned across the organization, IT is generally removed from decisions regarding the end customer. IT staff are unsure how to come forth with </a:t>
            </a:r>
            <a:r>
              <a:rPr lang="en-US" sz="1100" dirty="0" smtClean="0"/>
              <a:t>ideas </a:t>
            </a:r>
            <a:r>
              <a:rPr lang="en-US" sz="1100" dirty="0"/>
              <a:t>that could </a:t>
            </a:r>
            <a:r>
              <a:rPr lang="en-US" sz="1100" dirty="0" smtClean="0"/>
              <a:t>benefit the </a:t>
            </a:r>
            <a:r>
              <a:rPr lang="en-US" sz="1100" dirty="0"/>
              <a:t>end </a:t>
            </a:r>
            <a:r>
              <a:rPr lang="en-US" sz="1100" dirty="0" smtClean="0"/>
              <a:t>customer, resulting in many good </a:t>
            </a:r>
            <a:r>
              <a:rPr lang="en-US" sz="1100" dirty="0"/>
              <a:t>ideas </a:t>
            </a:r>
            <a:r>
              <a:rPr lang="en-US" sz="1100" dirty="0" smtClean="0"/>
              <a:t>going </a:t>
            </a:r>
            <a:r>
              <a:rPr lang="en-US" sz="1100" dirty="0"/>
              <a:t>unnoticed. 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A" sz="1100" dirty="0" smtClean="0"/>
              <a:t>Aligning IT with the customer is in reach and, don’t worry, being successful doesn’t require turning your developers into sales representatives. Info-Tech’s </a:t>
            </a:r>
            <a:r>
              <a:rPr lang="en-CA" sz="1100" dirty="0"/>
              <a:t>approach for aligning IT </a:t>
            </a:r>
            <a:r>
              <a:rPr lang="en-CA" sz="1100" dirty="0" smtClean="0"/>
              <a:t>is grounded in what you know and equips </a:t>
            </a:r>
            <a:r>
              <a:rPr lang="en-CA" sz="1100" dirty="0"/>
              <a:t>you with the tools you need to take a holistic, step-by-step approach to </a:t>
            </a:r>
            <a:r>
              <a:rPr lang="en-CA" sz="1100" dirty="0" smtClean="0"/>
              <a:t>ensure </a:t>
            </a:r>
            <a:r>
              <a:rPr lang="en-CA" sz="1100" dirty="0"/>
              <a:t>your project is a success. </a:t>
            </a:r>
            <a:endParaRPr lang="en-CA" sz="1100" dirty="0" smtClean="0"/>
          </a:p>
          <a:p>
            <a:r>
              <a:rPr lang="en-CA" sz="1100" dirty="0" smtClean="0"/>
              <a:t>IT and the business must collaborate to talk to the customer </a:t>
            </a:r>
            <a:r>
              <a:rPr lang="en-CA" sz="1100" i="1" dirty="0" smtClean="0"/>
              <a:t>together</a:t>
            </a:r>
            <a:r>
              <a:rPr lang="en-CA" sz="1100" dirty="0" smtClean="0"/>
              <a:t> rather than the business passing on customer feedback to IT. Changing the process is absolutely essential to the success of this project. If </a:t>
            </a:r>
            <a:r>
              <a:rPr lang="en-CA" sz="1100" dirty="0"/>
              <a:t>you do not change the process, you can’t expect anything to happen. </a:t>
            </a:r>
            <a:r>
              <a:rPr lang="en-CA" sz="1100" dirty="0" smtClean="0"/>
              <a:t>Develop feedback loops between IT and the customer. Balance the feedback mechanism you choose with the size of investment and the delay your organization is willing to undertake.</a:t>
            </a:r>
          </a:p>
          <a:p>
            <a:r>
              <a:rPr lang="en-CA" sz="1100" dirty="0" smtClean="0"/>
              <a:t>To ensure the process changes are successful, the CIO needs to combine both “push” tactics like communication and training, with “pull” tactics like adjusting IT staff’s performance metrics.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630941"/>
          </a:xfrm>
        </p:spPr>
        <p:txBody>
          <a:bodyPr/>
          <a:lstStyle/>
          <a:p>
            <a:pPr marL="228600" lvl="0" indent="-228600">
              <a:buFont typeface="+mj-lt"/>
              <a:buAutoNum type="arabicPeriod"/>
            </a:pPr>
            <a:r>
              <a:rPr lang="en-US" sz="1100" b="1" dirty="0"/>
              <a:t>Becoming </a:t>
            </a:r>
            <a:r>
              <a:rPr lang="en-US" sz="1100" b="1" dirty="0" smtClean="0"/>
              <a:t>aligned with the customer is doable. </a:t>
            </a:r>
            <a:r>
              <a:rPr lang="en-US" sz="1100" b="1" dirty="0"/>
              <a:t>By taking a step-by-step, holistic approach, the CIO can build a customer-centric IT department. </a:t>
            </a:r>
            <a:endParaRPr lang="en-US" sz="1100" b="1" dirty="0" smtClean="0"/>
          </a:p>
          <a:p>
            <a:pPr marL="228600" lvl="0" indent="-228600">
              <a:buFont typeface="+mj-lt"/>
              <a:buAutoNum type="arabicPeriod"/>
            </a:pPr>
            <a:endParaRPr lang="en-US" sz="1100" b="1" dirty="0"/>
          </a:p>
          <a:p>
            <a:pPr marL="228600" lvl="0" indent="-228600">
              <a:buFont typeface="+mj-lt"/>
              <a:buAutoNum type="arabicPeriod"/>
            </a:pPr>
            <a:r>
              <a:rPr lang="en-US" sz="1100" b="1" dirty="0"/>
              <a:t>Business Unit Heads are a key partner throughout this project. </a:t>
            </a:r>
            <a:r>
              <a:rPr lang="en-US" sz="1100" b="1" dirty="0" smtClean="0"/>
              <a:t>IT must engage the customer, </a:t>
            </a:r>
            <a:r>
              <a:rPr lang="en-US" sz="1100" b="1" i="1" dirty="0" smtClean="0"/>
              <a:t>with</a:t>
            </a:r>
            <a:r>
              <a:rPr lang="en-US" sz="1100" b="1" dirty="0" smtClean="0"/>
              <a:t> the business. </a:t>
            </a:r>
          </a:p>
          <a:p>
            <a:pPr marL="228600" lvl="0" indent="-228600">
              <a:buFont typeface="+mj-lt"/>
              <a:buAutoNum type="arabicPeriod"/>
            </a:pPr>
            <a:endParaRPr lang="en-US" sz="1100" b="1" dirty="0"/>
          </a:p>
          <a:p>
            <a:pPr marL="228600" lvl="0" indent="-228600">
              <a:buFont typeface="+mj-lt"/>
              <a:buAutoNum type="arabicPeriod"/>
            </a:pPr>
            <a:r>
              <a:rPr lang="en-US" sz="1100" b="1" dirty="0"/>
              <a:t>To minimize surprises, build an iterative process called a feedback loop to continually respond to customer preferences.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0627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103794" y="2961287"/>
            <a:ext cx="7708688" cy="1588129"/>
          </a:xfrm>
          <a:prstGeom prst="rect">
            <a:avLst/>
          </a:prstGeom>
          <a:solidFill>
            <a:srgbClr val="BFD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18616" y="4551366"/>
            <a:ext cx="7693866" cy="1596139"/>
          </a:xfrm>
          <a:prstGeom prst="rect">
            <a:avLst/>
          </a:prstGeom>
          <a:solidFill>
            <a:srgbClr val="B6DE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7516714" cy="864096"/>
          </a:xfrm>
        </p:spPr>
        <p:txBody>
          <a:bodyPr/>
          <a:lstStyle/>
          <a:p>
            <a:r>
              <a:rPr lang="en-US" dirty="0" smtClean="0"/>
              <a:t>Info-Tech is ready to assist. Book a free guided </a:t>
            </a:r>
            <a:br>
              <a:rPr lang="en-US" dirty="0" smtClean="0"/>
            </a:br>
            <a:r>
              <a:rPr lang="en-US" dirty="0" smtClean="0"/>
              <a:t>implementation today!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51520" y="1124744"/>
            <a:ext cx="8627997" cy="1012207"/>
          </a:xfrm>
        </p:spPr>
        <p:txBody>
          <a:bodyPr/>
          <a:lstStyle/>
          <a:p>
            <a:pPr marL="0" indent="0">
              <a:buNone/>
            </a:pPr>
            <a:r>
              <a:rPr lang="en-CA" sz="1400" b="1" dirty="0">
                <a:cs typeface="Open Sans"/>
              </a:rPr>
              <a:t>Book a Guided Implementation Today:</a:t>
            </a:r>
            <a:r>
              <a:rPr lang="en-CA" sz="1400" dirty="0">
                <a:cs typeface="Open Sans"/>
              </a:rPr>
              <a:t> Info-Tech is just a phone call away and can assist you with your project. Our expert </a:t>
            </a:r>
            <a:r>
              <a:rPr lang="en-CA" sz="1400" dirty="0" smtClean="0">
                <a:cs typeface="Open Sans"/>
              </a:rPr>
              <a:t>Analysts </a:t>
            </a:r>
            <a:r>
              <a:rPr lang="en-CA" sz="1400" dirty="0">
                <a:cs typeface="Open Sans"/>
              </a:rPr>
              <a:t>can guide you to successful project </a:t>
            </a:r>
            <a:r>
              <a:rPr lang="en-CA" sz="1400" dirty="0" smtClean="0">
                <a:cs typeface="Open Sans"/>
              </a:rPr>
              <a:t>completion. </a:t>
            </a:r>
            <a:r>
              <a:rPr lang="en-US" sz="1400" dirty="0">
                <a:cs typeface="Open Sans"/>
              </a:rPr>
              <a:t>For most members, this service is available at no additional cost</a:t>
            </a:r>
            <a:r>
              <a:rPr lang="en-US" sz="1400" dirty="0" smtClean="0">
                <a:cs typeface="Open Sans"/>
              </a:rPr>
              <a:t>.*</a:t>
            </a:r>
            <a:endParaRPr lang="en-CA" sz="1400" dirty="0" smtClean="0">
              <a:cs typeface="Open San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48276" y="6097925"/>
            <a:ext cx="40671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350" dirty="0" smtClean="0">
                <a:latin typeface="+mn-lt"/>
              </a:rPr>
              <a:t>*</a:t>
            </a:r>
            <a:r>
              <a:rPr lang="en-CA" sz="900" dirty="0" smtClean="0">
                <a:solidFill>
                  <a:srgbClr val="333333"/>
                </a:solidFill>
                <a:cs typeface="Open Sans"/>
              </a:rPr>
              <a:t>Guided </a:t>
            </a:r>
            <a:r>
              <a:rPr lang="en-CA" sz="900" dirty="0">
                <a:solidFill>
                  <a:srgbClr val="333333"/>
                </a:solidFill>
                <a:cs typeface="Open Sans"/>
              </a:rPr>
              <a:t>Implementations are included in most advisory membership seats</a:t>
            </a:r>
            <a:r>
              <a:rPr lang="en-US" sz="900" dirty="0">
                <a:solidFill>
                  <a:srgbClr val="333333"/>
                </a:solidFill>
                <a:cs typeface="Open Sans"/>
              </a:rPr>
              <a:t>.</a:t>
            </a:r>
            <a:endParaRPr lang="en-CA" sz="900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1520" y="1785887"/>
            <a:ext cx="85609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CA" sz="1200" i="1" dirty="0">
                <a:cs typeface="Open Sans"/>
              </a:rPr>
              <a:t>Here are the suggested Guided Implementation points in the </a:t>
            </a:r>
            <a:r>
              <a:rPr lang="en-CA" sz="1200" i="1" dirty="0" smtClean="0">
                <a:cs typeface="Open Sans"/>
              </a:rPr>
              <a:t>IT and Customer Alignment project</a:t>
            </a:r>
            <a:r>
              <a:rPr lang="en-CA" sz="1200" i="1" dirty="0">
                <a:cs typeface="Open Sans"/>
              </a:rPr>
              <a:t>:</a:t>
            </a:r>
            <a:endParaRPr lang="en-US" sz="1200" i="1" dirty="0">
              <a:cs typeface="Open San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354417" y="2311623"/>
            <a:ext cx="7333246" cy="2157946"/>
            <a:chOff x="457914" y="1214679"/>
            <a:chExt cx="8286871" cy="2331160"/>
          </a:xfrm>
        </p:grpSpPr>
        <p:sp>
          <p:nvSpPr>
            <p:cNvPr id="12" name="Rectangle 11"/>
            <p:cNvSpPr/>
            <p:nvPr/>
          </p:nvSpPr>
          <p:spPr>
            <a:xfrm>
              <a:off x="828211" y="1216785"/>
              <a:ext cx="1486675" cy="5676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1: Launch</a:t>
              </a:r>
              <a:endParaRPr lang="en-US" sz="1400" b="1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828487" y="1215248"/>
              <a:ext cx="1486675" cy="5676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2: </a:t>
              </a:r>
            </a:p>
            <a:p>
              <a:pPr algn="ctr"/>
              <a:r>
                <a:rPr lang="en-US" sz="1400" b="1" dirty="0" smtClean="0"/>
                <a:t>Plan </a:t>
              </a:r>
              <a:endParaRPr lang="en-US" sz="1400" b="1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57914" y="1947447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1.1</a:t>
              </a:r>
              <a:r>
                <a:rPr lang="en-US" sz="1000" dirty="0"/>
                <a:t> </a:t>
              </a:r>
              <a:r>
                <a:rPr lang="en-US" sz="1000" dirty="0" smtClean="0"/>
                <a:t>Investigate Challenges and Benefits</a:t>
              </a:r>
              <a:endParaRPr lang="en-US" sz="10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609588" y="1947708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1.2 </a:t>
              </a:r>
            </a:p>
            <a:p>
              <a:pPr algn="ctr"/>
              <a:r>
                <a:rPr lang="en-US" sz="1000" dirty="0" smtClean="0"/>
                <a:t>Build the Project Charter</a:t>
              </a:r>
              <a:endParaRPr lang="en-US" sz="10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837198" y="1947446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2.1</a:t>
              </a:r>
              <a:r>
                <a:rPr lang="en-US" sz="1000" dirty="0" smtClean="0"/>
                <a:t> </a:t>
              </a:r>
            </a:p>
            <a:p>
              <a:pPr algn="ctr"/>
              <a:r>
                <a:rPr lang="en-US" sz="1000" dirty="0" smtClean="0"/>
                <a:t>Assess Current Processes</a:t>
              </a:r>
              <a:endParaRPr lang="en-US" sz="1000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24928" y="1947967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2.2</a:t>
              </a:r>
            </a:p>
            <a:p>
              <a:pPr algn="ctr"/>
              <a:r>
                <a:rPr lang="en-US" sz="1000" dirty="0" smtClean="0"/>
                <a:t>Select Target Processes</a:t>
              </a:r>
              <a:endParaRPr lang="en-US" sz="10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212658" y="1942214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2.3</a:t>
              </a:r>
              <a:r>
                <a:rPr lang="en-US" sz="1000" dirty="0" smtClean="0"/>
                <a:t> Determine Process Modifications</a:t>
              </a:r>
              <a:endParaRPr lang="en-US" sz="10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571823" y="2782649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2.5</a:t>
              </a:r>
              <a:r>
                <a:rPr lang="en-US" sz="1000" dirty="0" smtClean="0"/>
                <a:t> </a:t>
              </a:r>
            </a:p>
            <a:p>
              <a:pPr algn="ctr"/>
              <a:r>
                <a:rPr lang="en-US" sz="1000" dirty="0" smtClean="0"/>
                <a:t>Motivate IT Staff</a:t>
              </a:r>
              <a:endParaRPr lang="en-US" sz="10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381995" y="2782650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2.4</a:t>
              </a:r>
              <a:r>
                <a:rPr lang="en-US" sz="1000" dirty="0" smtClean="0"/>
                <a:t> </a:t>
              </a:r>
            </a:p>
            <a:p>
              <a:pPr algn="ctr"/>
              <a:r>
                <a:rPr lang="en-US" sz="1000" dirty="0" smtClean="0"/>
                <a:t>Refine the </a:t>
              </a:r>
              <a:r>
                <a:rPr lang="en-US" sz="950" dirty="0" smtClean="0"/>
                <a:t>Organizational</a:t>
              </a:r>
              <a:r>
                <a:rPr lang="en-US" sz="1000" dirty="0" smtClean="0"/>
                <a:t> Design </a:t>
              </a:r>
              <a:endParaRPr lang="en-US" sz="10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650994" y="1942213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3.2</a:t>
              </a:r>
              <a:r>
                <a:rPr lang="en-US" sz="1000" dirty="0" smtClean="0"/>
                <a:t> </a:t>
              </a:r>
            </a:p>
            <a:p>
              <a:pPr algn="ctr"/>
              <a:r>
                <a:rPr lang="en-US" sz="1000" dirty="0" smtClean="0"/>
                <a:t>Train IT Staff</a:t>
              </a:r>
              <a:endParaRPr lang="en-US" sz="1000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459951" y="1942213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000" b="1" dirty="0" smtClean="0"/>
                <a:t>3.1 </a:t>
              </a:r>
              <a:r>
                <a:rPr lang="en-US" sz="1000" dirty="0" smtClean="0"/>
                <a:t>Communicate Effectively</a:t>
              </a:r>
              <a:endParaRPr lang="en-US" sz="1000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828763" y="1214679"/>
              <a:ext cx="1486675" cy="56767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3: Implement</a:t>
              </a:r>
              <a:endParaRPr lang="en-US" sz="1400" b="1" dirty="0"/>
            </a:p>
          </p:txBody>
        </p:sp>
        <p:cxnSp>
          <p:nvCxnSpPr>
            <p:cNvPr id="25" name="Straight Arrow Connector 24"/>
            <p:cNvCxnSpPr>
              <a:stCxn id="12" idx="3"/>
              <a:endCxn id="13" idx="1"/>
            </p:cNvCxnSpPr>
            <p:nvPr/>
          </p:nvCxnSpPr>
          <p:spPr>
            <a:xfrm flipV="1">
              <a:off x="2314886" y="1499082"/>
              <a:ext cx="1513600" cy="153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stCxn id="13" idx="3"/>
              <a:endCxn id="24" idx="1"/>
            </p:cNvCxnSpPr>
            <p:nvPr/>
          </p:nvCxnSpPr>
          <p:spPr>
            <a:xfrm flipV="1">
              <a:off x="5315162" y="1498513"/>
              <a:ext cx="1513600" cy="569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27" name="Line 4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H="1" flipV="1">
            <a:off x="3399400" y="2985101"/>
            <a:ext cx="17448" cy="3027979"/>
          </a:xfrm>
          <a:prstGeom prst="line">
            <a:avLst/>
          </a:prstGeom>
          <a:noFill/>
          <a:ln w="28575" cap="rnd">
            <a:solidFill>
              <a:srgbClr val="969696"/>
            </a:solidFill>
            <a:prstDash val="sysDot"/>
            <a:round/>
            <a:headEnd/>
            <a:tailEnd type="none" w="lg" len="sm"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 algn="l"/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28" name="Line 4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612069" y="2985100"/>
            <a:ext cx="982" cy="3027979"/>
          </a:xfrm>
          <a:prstGeom prst="line">
            <a:avLst/>
          </a:prstGeom>
          <a:noFill/>
          <a:ln w="28575" cap="rnd">
            <a:solidFill>
              <a:srgbClr val="969696"/>
            </a:solidFill>
            <a:prstDash val="sysDot"/>
            <a:round/>
            <a:headEnd/>
            <a:tailEnd type="none" w="lg" len="sm"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 algn="l"/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4988" y="2963483"/>
            <a:ext cx="1214133" cy="15929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Best Practices Toolkit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5622" y="4556449"/>
            <a:ext cx="1213499" cy="1591056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Guided Implementation</a:t>
            </a:r>
            <a:endParaRPr lang="en-US" sz="1100" b="1" dirty="0">
              <a:solidFill>
                <a:schemeClr val="bg1"/>
              </a:solidFill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973" y="4721721"/>
            <a:ext cx="576801" cy="519604"/>
          </a:xfrm>
          <a:prstGeom prst="rect">
            <a:avLst/>
          </a:prstGeom>
        </p:spPr>
      </p:pic>
      <p:grpSp>
        <p:nvGrpSpPr>
          <p:cNvPr id="32" name="Group 31"/>
          <p:cNvGrpSpPr/>
          <p:nvPr/>
        </p:nvGrpSpPr>
        <p:grpSpPr>
          <a:xfrm>
            <a:off x="277004" y="3083826"/>
            <a:ext cx="486382" cy="509031"/>
            <a:chOff x="1237917" y="1814115"/>
            <a:chExt cx="822406" cy="822406"/>
          </a:xfrm>
        </p:grpSpPr>
        <p:sp>
          <p:nvSpPr>
            <p:cNvPr id="33" name="Rectangle 32"/>
            <p:cNvSpPr/>
            <p:nvPr/>
          </p:nvSpPr>
          <p:spPr>
            <a:xfrm>
              <a:off x="1237917" y="1861457"/>
              <a:ext cx="822406" cy="73152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4" name="Picture 33" descr="best-practice-blueprints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37917" y="1814115"/>
              <a:ext cx="822406" cy="822406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effectLst/>
          </p:spPr>
        </p:pic>
      </p:grpSp>
      <p:sp>
        <p:nvSpPr>
          <p:cNvPr id="35" name="TextBox 34"/>
          <p:cNvSpPr txBox="1"/>
          <p:nvPr/>
        </p:nvSpPr>
        <p:spPr>
          <a:xfrm>
            <a:off x="1329755" y="4738583"/>
            <a:ext cx="18167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Introduce </a:t>
            </a:r>
            <a:r>
              <a:rPr lang="en-US" sz="900" dirty="0">
                <a:cs typeface="Open Sans"/>
              </a:rPr>
              <a:t>Project Steps and Assess Member Fit</a:t>
            </a: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Requirements </a:t>
            </a:r>
            <a:r>
              <a:rPr lang="en-US" sz="900" dirty="0">
                <a:cs typeface="Open Sans"/>
              </a:rPr>
              <a:t>Gathering: Identifying and Interviewing Stakeholders</a:t>
            </a: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Creating </a:t>
            </a:r>
            <a:r>
              <a:rPr lang="en-US" sz="900" dirty="0">
                <a:cs typeface="Open Sans"/>
              </a:rPr>
              <a:t>a Project Charter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582244" y="4720591"/>
            <a:ext cx="2977115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Building an IT/Customer Alignment Plan and Examining Current </a:t>
            </a:r>
            <a:r>
              <a:rPr lang="en-US" sz="900" dirty="0">
                <a:cs typeface="Open Sans"/>
              </a:rPr>
              <a:t>IT/Customer Processes</a:t>
            </a: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Determining Target IT/Customer Processes</a:t>
            </a:r>
            <a:endParaRPr lang="en-US" sz="900" dirty="0">
              <a:cs typeface="Open Sans"/>
            </a:endParaRP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Closing Gaps, Determining and Prioritizing Initiatives</a:t>
            </a: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Refining the Organizational Design </a:t>
            </a:r>
            <a:endParaRPr lang="en-US" sz="900" dirty="0">
              <a:cs typeface="Open Sans"/>
            </a:endParaRP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Motivating IT Staff </a:t>
            </a:r>
            <a:endParaRPr lang="en-US" sz="900" dirty="0">
              <a:cs typeface="Open San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872977" y="4693540"/>
            <a:ext cx="18146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Creating the IT and Organizational Communication Plan </a:t>
            </a:r>
            <a:endParaRPr lang="en-US" sz="900" dirty="0">
              <a:cs typeface="Open Sans"/>
            </a:endParaRP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Designing a Training Plan </a:t>
            </a:r>
            <a:endParaRPr lang="en-US" sz="900" dirty="0">
              <a:cs typeface="Open Sans"/>
            </a:endParaRPr>
          </a:p>
          <a:p>
            <a:pPr marL="228600" indent="-228600">
              <a:spcAft>
                <a:spcPts val="600"/>
              </a:spcAft>
              <a:buSzPct val="150000"/>
              <a:buBlip>
                <a:blip r:embed="rId8"/>
              </a:buBlip>
            </a:pPr>
            <a:r>
              <a:rPr lang="en-US" sz="900" dirty="0" smtClean="0">
                <a:cs typeface="Open Sans"/>
              </a:rPr>
              <a:t>Moving </a:t>
            </a:r>
            <a:r>
              <a:rPr lang="en-US" sz="900" dirty="0">
                <a:cs typeface="Open Sans"/>
              </a:rPr>
              <a:t>Forward with </a:t>
            </a:r>
            <a:r>
              <a:rPr lang="en-US" sz="900" dirty="0" smtClean="0">
                <a:cs typeface="Open Sans"/>
              </a:rPr>
              <a:t>Implementation</a:t>
            </a:r>
            <a:endParaRPr lang="en-US" sz="900" dirty="0">
              <a:cs typeface="Open San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41" name="Picture 3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41" descr="itrg-logo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497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4190" y="260648"/>
            <a:ext cx="8523110" cy="864096"/>
          </a:xfrm>
        </p:spPr>
        <p:txBody>
          <a:bodyPr/>
          <a:lstStyle/>
          <a:p>
            <a:r>
              <a:rPr lang="en-US" dirty="0" smtClean="0"/>
              <a:t>Use Info-Tech’s methodology to take </a:t>
            </a:r>
            <a:r>
              <a:rPr lang="en-US" dirty="0"/>
              <a:t>a </a:t>
            </a:r>
            <a:r>
              <a:rPr lang="en-US" dirty="0" smtClean="0"/>
              <a:t>holistic, step-by-step approach </a:t>
            </a:r>
            <a:r>
              <a:rPr lang="en-US" dirty="0"/>
              <a:t>to </a:t>
            </a:r>
            <a:r>
              <a:rPr lang="en-US" dirty="0" smtClean="0"/>
              <a:t>align IT with </a:t>
            </a:r>
            <a:r>
              <a:rPr lang="en-US" dirty="0"/>
              <a:t>the end custome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84541" y="1698605"/>
            <a:ext cx="14522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Assess Current State and Identify Gap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769403" y="1682711"/>
            <a:ext cx="14522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efine Future State for App Maintenanc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4190" y="5349164"/>
            <a:ext cx="8435621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CA" sz="1200" dirty="0" smtClean="0">
                <a:solidFill>
                  <a:srgbClr val="333333"/>
                </a:solidFill>
              </a:rPr>
              <a:t>Whether you engage Info-Tech, a third-party facilitator, or you do it yourself, we recommend you kick off this project over a four-day period to get as much of it done as possible and improve the changes of its success. The following slides walk you through a proposed schedule for doing so. This is also the schedule that Info-Tech facilitators use when they come onsite to work through this project with you.</a:t>
            </a:r>
            <a:endParaRPr lang="en-CA" sz="1200" dirty="0">
              <a:solidFill>
                <a:srgbClr val="333333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4190" y="3907104"/>
            <a:ext cx="8435621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en-CA" sz="1200" dirty="0"/>
              <a:t>Info-Tech’s </a:t>
            </a:r>
            <a:r>
              <a:rPr lang="en-CA" sz="1200" dirty="0" smtClean="0"/>
              <a:t>approach for aligning IT with the end customer equips you with the tools you need to take a holistic, step-by-step approach to ensure your project is a success. This methodology is grounded in process change. Info-Tech believes that for a project like this, if you do not change the process, you can’t expect anything to happen. However, Info-Tech recognizes that changing the process is not a standalone solution. Info-Tech’s methodology also provides you with the necessary tools to support process changes. This includes support regarding organizational design, staff motivation, and creating communication and training plans. </a:t>
            </a:r>
            <a:endParaRPr lang="en-US" sz="12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354190" y="5216746"/>
            <a:ext cx="840314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399039" y="1461829"/>
            <a:ext cx="8345923" cy="2243750"/>
            <a:chOff x="398862" y="1302089"/>
            <a:chExt cx="8345923" cy="2243750"/>
          </a:xfrm>
        </p:grpSpPr>
        <p:sp>
          <p:nvSpPr>
            <p:cNvPr id="8" name="Rectangle 7"/>
            <p:cNvSpPr/>
            <p:nvPr/>
          </p:nvSpPr>
          <p:spPr>
            <a:xfrm>
              <a:off x="828211" y="1304195"/>
              <a:ext cx="1486675" cy="5676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1: Launch</a:t>
              </a:r>
              <a:endParaRPr lang="en-US" sz="1400" b="1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828487" y="1302658"/>
              <a:ext cx="1486675" cy="5676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2: </a:t>
              </a:r>
            </a:p>
            <a:p>
              <a:pPr algn="ctr"/>
              <a:r>
                <a:rPr lang="en-US" sz="1400" b="1" dirty="0" smtClean="0"/>
                <a:t>Plan </a:t>
              </a:r>
              <a:endParaRPr lang="en-US" sz="1400" b="1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98862" y="1947447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1.1</a:t>
              </a:r>
            </a:p>
            <a:p>
              <a:pPr algn="ctr"/>
              <a:r>
                <a:rPr lang="en-US" sz="1100" dirty="0" smtClean="0"/>
                <a:t>Investigate Challenges and Benefits</a:t>
              </a:r>
              <a:endParaRPr lang="en-US" sz="1100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589905" y="1947708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1.2 </a:t>
              </a:r>
            </a:p>
            <a:p>
              <a:pPr algn="ctr"/>
              <a:r>
                <a:rPr lang="en-US" sz="1100" dirty="0" smtClean="0"/>
                <a:t>Build the Project Charter</a:t>
              </a:r>
              <a:endParaRPr lang="en-US" sz="11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837198" y="1947446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2.1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Assess Current Processes</a:t>
              </a:r>
              <a:endParaRPr lang="en-US" sz="11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024928" y="1947967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2.2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Select Target Processes</a:t>
              </a:r>
              <a:endParaRPr lang="en-US" sz="1100" dirty="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212658" y="1942214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2.3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Determine Process Modifications</a:t>
              </a:r>
              <a:endParaRPr lang="en-US" sz="1100" dirty="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571823" y="2782649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2.5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Motivate IT Staff</a:t>
              </a:r>
              <a:endParaRPr lang="en-US" sz="1100" dirty="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381995" y="2782650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2.4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Refine the Organizational Design </a:t>
              </a:r>
              <a:endParaRPr lang="en-US" sz="1100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650994" y="1942213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3.2</a:t>
              </a:r>
              <a:r>
                <a:rPr lang="en-US" sz="1100" dirty="0" smtClean="0"/>
                <a:t> </a:t>
              </a:r>
            </a:p>
            <a:p>
              <a:pPr algn="ctr"/>
              <a:r>
                <a:rPr lang="en-US" sz="1100" dirty="0" smtClean="0"/>
                <a:t>Train IT Staff</a:t>
              </a:r>
              <a:endParaRPr lang="en-US" sz="1100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459951" y="1942213"/>
              <a:ext cx="1093791" cy="763189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en-US" sz="1100" b="1" dirty="0" smtClean="0"/>
                <a:t>3.1 </a:t>
              </a:r>
              <a:r>
                <a:rPr lang="en-US" sz="1100" dirty="0" smtClean="0"/>
                <a:t>Communicate Effectively</a:t>
              </a:r>
              <a:endParaRPr lang="en-US" sz="1100" dirty="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828763" y="1302089"/>
              <a:ext cx="1486675" cy="5676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/>
                <a:t>Phase 3: Implement</a:t>
              </a:r>
              <a:endParaRPr lang="en-US" sz="1400" b="1" dirty="0"/>
            </a:p>
          </p:txBody>
        </p:sp>
        <p:cxnSp>
          <p:nvCxnSpPr>
            <p:cNvPr id="10" name="Straight Arrow Connector 9"/>
            <p:cNvCxnSpPr>
              <a:stCxn id="8" idx="3"/>
              <a:endCxn id="28" idx="1"/>
            </p:cNvCxnSpPr>
            <p:nvPr/>
          </p:nvCxnSpPr>
          <p:spPr>
            <a:xfrm flipV="1">
              <a:off x="2314886" y="1586496"/>
              <a:ext cx="1513601" cy="1537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>
              <a:stCxn id="28" idx="3"/>
              <a:endCxn id="39" idx="1"/>
            </p:cNvCxnSpPr>
            <p:nvPr/>
          </p:nvCxnSpPr>
          <p:spPr>
            <a:xfrm flipV="1">
              <a:off x="5315162" y="1585927"/>
              <a:ext cx="1513601" cy="569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43" name="Line 4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2769125" y="2101952"/>
            <a:ext cx="5373" cy="1603624"/>
          </a:xfrm>
          <a:prstGeom prst="line">
            <a:avLst/>
          </a:prstGeom>
          <a:noFill/>
          <a:ln w="28575" cap="rnd">
            <a:solidFill>
              <a:srgbClr val="969696"/>
            </a:solidFill>
            <a:prstDash val="sysDot"/>
            <a:round/>
            <a:headEnd/>
            <a:tailEnd type="none" w="lg" len="sm"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 algn="l"/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44" name="Line 4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6377743" y="2101952"/>
            <a:ext cx="5373" cy="1603624"/>
          </a:xfrm>
          <a:prstGeom prst="line">
            <a:avLst/>
          </a:prstGeom>
          <a:noFill/>
          <a:ln w="28575" cap="rnd">
            <a:solidFill>
              <a:srgbClr val="969696"/>
            </a:solidFill>
            <a:prstDash val="sysDot"/>
            <a:round/>
            <a:headEnd/>
            <a:tailEnd type="none" w="lg" len="sm"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 algn="l"/>
            <a:endParaRPr lang="en-US" dirty="0">
              <a:solidFill>
                <a:srgbClr val="333333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6" name="Picture 3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29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61885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our-Day </a:t>
            </a:r>
            <a:r>
              <a:rPr lang="en-CA" dirty="0"/>
              <a:t>Kick-Off: Align IT with the </a:t>
            </a:r>
            <a:r>
              <a:rPr lang="en-CA" dirty="0" smtClean="0"/>
              <a:t>real end customer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876329"/>
              </p:ext>
            </p:extLst>
          </p:nvPr>
        </p:nvGraphicFramePr>
        <p:xfrm>
          <a:off x="302692" y="1328057"/>
          <a:ext cx="8568952" cy="4602285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038747"/>
                <a:gridCol w="1322349"/>
                <a:gridCol w="3294980"/>
                <a:gridCol w="1155808"/>
                <a:gridCol w="1757068"/>
              </a:tblGrid>
              <a:tr h="53703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Time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ctivity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Goal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ttende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Deliverabl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0481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ay 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Morning</a:t>
                      </a: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roject Kick-Of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indent="-231775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dirty="0" smtClean="0">
                          <a:solidFill>
                            <a:srgbClr val="333333"/>
                          </a:solidFill>
                        </a:rPr>
                        <a:t>Understand objectives, schedule, and commitment for the week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>
                          <a:solidFill>
                            <a:srgbClr val="333333"/>
                          </a:solidFill>
                        </a:rPr>
                        <a:t>Project Team</a:t>
                      </a:r>
                      <a:endParaRPr lang="en-CA" sz="1000" dirty="0">
                        <a:solidFill>
                          <a:srgbClr val="33333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17413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1.1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en-US" sz="1000" dirty="0" smtClean="0"/>
                        <a:t>Investigate the Challenges and Review the Benefits of Aligning IT with the End</a:t>
                      </a:r>
                      <a:r>
                        <a:rPr lang="en-US" sz="1000" baseline="0" dirty="0" smtClean="0"/>
                        <a:t> Customer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333333"/>
                          </a:solidFill>
                        </a:rPr>
                        <a:t>Assess if it’s suitable to move forward with aligning your IT department with the customer.</a:t>
                      </a:r>
                    </a:p>
                    <a:p>
                      <a:pPr marL="231775" indent="-231775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dirty="0" smtClean="0">
                          <a:solidFill>
                            <a:srgbClr val="333333"/>
                          </a:solidFill>
                        </a:rPr>
                        <a:t>Develop an IT department that understands the needs of the organization’s customer in order to create a better customer experience as determined by loyalty and satisfaction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nior IT Analysts and Designers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T and Customer Alignment Readiness Checkl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3736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ay 1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Afternoon</a:t>
                      </a: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dk1"/>
                          </a:solidFill>
                        </a:rPr>
                        <a:t>1.2: Build the IT and Customer Alignment Project Charter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A clear definition of the scope for the IT and customer alignment project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dentification of key stakeholders, business drivers, and project fit with business drivers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dentification of key metrics that will be used to gauge project success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Approval to move forward with project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nior IT Analysts and Designers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T and Customer Alignment Stakeholder Interview Guide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T and Customer Alignment Project Char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6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6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665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our-Day </a:t>
            </a:r>
            <a:r>
              <a:rPr lang="en-CA" dirty="0"/>
              <a:t>Kick-Off: Align IT with the </a:t>
            </a:r>
            <a:r>
              <a:rPr lang="en-CA" dirty="0" smtClean="0"/>
              <a:t>real end customer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574793"/>
              </p:ext>
            </p:extLst>
          </p:nvPr>
        </p:nvGraphicFramePr>
        <p:xfrm>
          <a:off x="302692" y="1328057"/>
          <a:ext cx="8568952" cy="3691804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038747"/>
                <a:gridCol w="1322349"/>
                <a:gridCol w="3294980"/>
                <a:gridCol w="1155808"/>
                <a:gridCol w="1757068"/>
              </a:tblGrid>
              <a:tr h="53703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Time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ctivity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Goal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ttende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Deliverabl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1741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y 2 Morning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1: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 the </a:t>
                      </a: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rrent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</a:t>
                      </a: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te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 </a:t>
                      </a: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</a:t>
                      </a:r>
                      <a:r>
                        <a:rPr lang="en-US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</a:t>
                      </a: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Processe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Recognize the ways in which IT impacts the organization’s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ustomer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Define current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and c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ustomer processes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dentify root causes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of issues with current processes.</a:t>
                      </a:r>
                      <a:endParaRPr lang="en-US" sz="1000" kern="1200" dirty="0" smtClean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nior IT Analysts and Designers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book: Processes Current State Section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3736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y 2 Afternoon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2: Select Target IT</a:t>
                      </a:r>
                      <a:r>
                        <a:rPr lang="en-US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</a:t>
                      </a: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Process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Realize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opportunities for IT to demonstrat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ustomer-centricity. 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Assess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the appropriateness of each opportunity as it pertains to your uniqu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ituation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Map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target processe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nior IT Analysts and Designers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book: Processes 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rget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te Section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6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6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781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our-Day </a:t>
            </a:r>
            <a:r>
              <a:rPr lang="en-CA" dirty="0"/>
              <a:t>Kick-Off: Align IT with the </a:t>
            </a:r>
            <a:r>
              <a:rPr lang="en-CA" dirty="0" smtClean="0"/>
              <a:t>real end customer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565656"/>
              </p:ext>
            </p:extLst>
          </p:nvPr>
        </p:nvGraphicFramePr>
        <p:xfrm>
          <a:off x="302692" y="1328056"/>
          <a:ext cx="8568952" cy="4489998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038747"/>
                <a:gridCol w="1322349"/>
                <a:gridCol w="3294980"/>
                <a:gridCol w="1155808"/>
                <a:gridCol w="1757068"/>
              </a:tblGrid>
              <a:tr h="549296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Time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ctivity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Goal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ttende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Deliverabl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3533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y 3 Morning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3: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termine Process Modific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Determine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gaps between current and target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rocesse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dentify and prioritize initiatives necessary to clos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gap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nior IT Analysts and Designers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Workbook: Processes Gaps Section </a:t>
                      </a:r>
                    </a:p>
                    <a:p>
                      <a:pPr marL="0" marR="0" lvl="0" indent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None/>
                      </a:pP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873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ay 3 Afterno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4: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fine the Organizational Design </a:t>
                      </a:r>
                      <a:endParaRPr lang="en-US" sz="1000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Examine options for embedding IT in th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Right-size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options for your unique situation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Outlin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organizational design initiatives. 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Workbook: Organizational Design Section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6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6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785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our-Day </a:t>
            </a:r>
            <a:r>
              <a:rPr lang="en-CA" dirty="0"/>
              <a:t>Kick-Off: Align IT with the </a:t>
            </a:r>
            <a:r>
              <a:rPr lang="en-CA" dirty="0" smtClean="0"/>
              <a:t>real end customer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011798"/>
              </p:ext>
            </p:extLst>
          </p:nvPr>
        </p:nvGraphicFramePr>
        <p:xfrm>
          <a:off x="302692" y="1328057"/>
          <a:ext cx="8568952" cy="472383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038747"/>
                <a:gridCol w="1322349"/>
                <a:gridCol w="3294980"/>
                <a:gridCol w="1155808"/>
                <a:gridCol w="1757068"/>
              </a:tblGrid>
              <a:tr h="431461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Time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ctivity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Goal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Attende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2"/>
                          </a:solidFill>
                        </a:rPr>
                        <a:t>Deliverables</a:t>
                      </a:r>
                      <a:endParaRPr lang="en-US" sz="1000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387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ay 4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Morning</a:t>
                      </a: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5: Motivate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 Staff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Recognize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the importance of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aligning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erformance targets to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rocesse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Examine IT’s current metrics and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ncentive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lect customer metrics for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IT.</a:t>
                      </a:r>
                    </a:p>
                    <a:p>
                      <a:pPr marL="231775" marR="0" lvl="0" indent="-231775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Understand what motivates IT staff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Determine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motivation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trategy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Workbook: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Motivation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ction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8315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ay 4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Afternoon</a:t>
                      </a: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1: Communicate Effectivel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reate the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vision.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Effectively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ommunicate changes to both IT and organizational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takeholders.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1775" marR="0" lvl="0" indent="-231775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roposed Communication Plan </a:t>
                      </a:r>
                    </a:p>
                    <a:p>
                      <a:pPr marL="231775" marR="0" lvl="0" indent="-231775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roposed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ommunication Deck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4300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2: Train</a:t>
                      </a:r>
                      <a:r>
                        <a:rPr lang="en-US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T Staff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Understand different training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methods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Select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the best method of training for your organization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CIO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Business Unit Heads</a:t>
                      </a:r>
                      <a:endParaRPr lang="en-US" sz="1000" kern="1200" dirty="0">
                        <a:solidFill>
                          <a:srgbClr val="33333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roposed</a:t>
                      </a:r>
                      <a:r>
                        <a:rPr lang="en-US" sz="1000" kern="1200" baseline="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 smtClean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Training </a:t>
                      </a:r>
                      <a:r>
                        <a:rPr lang="en-US" sz="1000" kern="1200" dirty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27437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Wrap-U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333333"/>
                          </a:solidFill>
                        </a:rPr>
                        <a:t>Provide</a:t>
                      </a:r>
                      <a:r>
                        <a:rPr lang="en-US" sz="1000" baseline="0" dirty="0" smtClean="0">
                          <a:solidFill>
                            <a:srgbClr val="333333"/>
                          </a:solidFill>
                        </a:rPr>
                        <a:t> additional guidance on any outstanding topics or additional subject matter.</a:t>
                      </a:r>
                      <a:endParaRPr lang="en-US" sz="1000" dirty="0" smtClean="0">
                        <a:solidFill>
                          <a:srgbClr val="33333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Tea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6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6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869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aa79565a41421d0e5a461827ab8a64c2a6dcf93"/>
  <p:tag name="ISPRING_RESOURCE_PATHS_HASH_2" val="f1a382b495be36a5eac85fd212e8114d493f0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qd2eVOkW7ALzFwqzQ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qd2eVOkW7ALzFwqzQ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qd2eVOkW7ALzFwqzQ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qd2eVOkW7ALzFwqzQ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heme/theme1.xml><?xml version="1.0" encoding="utf-8"?>
<a:theme xmlns:a="http://schemas.openxmlformats.org/drawingml/2006/main" name="Theme1">
  <a:themeElements>
    <a:clrScheme name="ITRG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9475F"/>
      </a:accent1>
      <a:accent2>
        <a:srgbClr val="007698"/>
      </a:accent2>
      <a:accent3>
        <a:srgbClr val="5A7D5C"/>
      </a:accent3>
      <a:accent4>
        <a:srgbClr val="A24130"/>
      </a:accent4>
      <a:accent5>
        <a:srgbClr val="D9A210"/>
      </a:accent5>
      <a:accent6>
        <a:srgbClr val="D17D08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40</Words>
  <Application>Microsoft Office PowerPoint</Application>
  <PresentationFormat>On-screen Show (4:3)</PresentationFormat>
  <Paragraphs>251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20" baseType="lpstr">
      <vt:lpstr>Arial</vt:lpstr>
      <vt:lpstr>Calibri</vt:lpstr>
      <vt:lpstr>Georgia</vt:lpstr>
      <vt:lpstr>Open Sans</vt:lpstr>
      <vt:lpstr>Times New Roman</vt:lpstr>
      <vt:lpstr>Wingdings</vt:lpstr>
      <vt:lpstr>Theme1</vt:lpstr>
      <vt:lpstr>PowerPoint Presentation</vt:lpstr>
      <vt:lpstr>Our Understanding of the Problem</vt:lpstr>
      <vt:lpstr>Executive Summary</vt:lpstr>
      <vt:lpstr>Info-Tech is ready to assist. Book a free guided  implementation today!</vt:lpstr>
      <vt:lpstr>Use Info-Tech’s methodology to take a holistic, step-by-step approach to align IT with the end customer</vt:lpstr>
      <vt:lpstr>Four-Day Kick-Off: Align IT with the real end customer</vt:lpstr>
      <vt:lpstr>Four-Day Kick-Off: Align IT with the real end customer</vt:lpstr>
      <vt:lpstr>Four-Day Kick-Off: Align IT with the real end customer</vt:lpstr>
      <vt:lpstr>Four-Day Kick-Off: Align IT with the real end customer</vt:lpstr>
      <vt:lpstr>PowerPoint Presentation</vt:lpstr>
      <vt:lpstr>Phase 1 includes 2 key steps and 9 value driving activities</vt:lpstr>
      <vt:lpstr>Info-Tech Research Group Helps IT Professionals To:</vt:lpstr>
      <vt:lpstr>Custom Show 1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4-11-20T19:42:08Z</dcterms:created>
  <dcterms:modified xsi:type="dcterms:W3CDTF">2014-11-20T19:45:02Z</dcterms:modified>
  <cp:contentStatus/>
</cp:coreProperties>
</file>